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15" r:id="rId15"/>
    <p:sldId id="316" r:id="rId16"/>
    <p:sldId id="303" r:id="rId17"/>
    <p:sldId id="306" r:id="rId18"/>
    <p:sldId id="310" r:id="rId19"/>
    <p:sldId id="317" r:id="rId20"/>
    <p:sldId id="312" r:id="rId21"/>
    <p:sldId id="311" r:id="rId22"/>
    <p:sldId id="318" r:id="rId23"/>
    <p:sldId id="300" r:id="rId24"/>
    <p:sldId id="314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759"/>
    <a:srgbClr val="1E3523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C2FBD-ABC0-5247-896D-351E8BEBC21C}" v="12" dt="2024-05-05T08:11:15.138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0612" autoAdjust="0"/>
  </p:normalViewPr>
  <p:slideViewPr>
    <p:cSldViewPr snapToGrid="0">
      <p:cViewPr varScale="1">
        <p:scale>
          <a:sx n="88" d="100"/>
          <a:sy n="88" d="100"/>
        </p:scale>
        <p:origin x="2000" y="1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n Giang" userId="7bf65802d3cf91dc" providerId="LiveId" clId="{A0AC2FBD-ABC0-5247-896D-351E8BEBC21C}"/>
    <pc:docChg chg="undo custSel addSld modSld">
      <pc:chgData name="Alvin Giang" userId="7bf65802d3cf91dc" providerId="LiveId" clId="{A0AC2FBD-ABC0-5247-896D-351E8BEBC21C}" dt="2024-05-05T08:30:53.020" v="90" actId="20577"/>
      <pc:docMkLst>
        <pc:docMk/>
      </pc:docMkLst>
      <pc:sldChg chg="modNotesTx">
        <pc:chgData name="Alvin Giang" userId="7bf65802d3cf91dc" providerId="LiveId" clId="{A0AC2FBD-ABC0-5247-896D-351E8BEBC21C}" dt="2024-05-05T08:30:43.318" v="72" actId="20577"/>
        <pc:sldMkLst>
          <pc:docMk/>
          <pc:sldMk cId="1686951006" sldId="308"/>
        </pc:sldMkLst>
      </pc:sldChg>
      <pc:sldChg chg="addSp modSp mod">
        <pc:chgData name="Alvin Giang" userId="7bf65802d3cf91dc" providerId="LiveId" clId="{A0AC2FBD-ABC0-5247-896D-351E8BEBC21C}" dt="2024-05-05T08:03:57.391" v="4" actId="1076"/>
        <pc:sldMkLst>
          <pc:docMk/>
          <pc:sldMk cId="3428194601" sldId="309"/>
        </pc:sldMkLst>
        <pc:picChg chg="add mod">
          <ac:chgData name="Alvin Giang" userId="7bf65802d3cf91dc" providerId="LiveId" clId="{A0AC2FBD-ABC0-5247-896D-351E8BEBC21C}" dt="2024-05-05T08:03:57.391" v="4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addSp modSp new mod modNotesTx">
        <pc:chgData name="Alvin Giang" userId="7bf65802d3cf91dc" providerId="LiveId" clId="{A0AC2FBD-ABC0-5247-896D-351E8BEBC21C}" dt="2024-05-05T08:30:48.307" v="79" actId="20577"/>
        <pc:sldMkLst>
          <pc:docMk/>
          <pc:sldMk cId="1893508107" sldId="315"/>
        </pc:sldMkLst>
        <pc:picChg chg="add mod">
          <ac:chgData name="Alvin Giang" userId="7bf65802d3cf91dc" providerId="LiveId" clId="{A0AC2FBD-ABC0-5247-896D-351E8BEBC21C}" dt="2024-05-05T08:06:05.112" v="12" actId="14100"/>
          <ac:picMkLst>
            <pc:docMk/>
            <pc:sldMk cId="1893508107" sldId="315"/>
            <ac:picMk id="4" creationId="{524019CB-2D3B-2D30-919A-21E5DC6E698A}"/>
          </ac:picMkLst>
        </pc:picChg>
      </pc:sldChg>
      <pc:sldChg chg="addSp modSp new mod modTransition modAnim modNotesTx">
        <pc:chgData name="Alvin Giang" userId="7bf65802d3cf91dc" providerId="LiveId" clId="{A0AC2FBD-ABC0-5247-896D-351E8BEBC21C}" dt="2024-05-05T08:30:53.020" v="90" actId="20577"/>
        <pc:sldMkLst>
          <pc:docMk/>
          <pc:sldMk cId="4084224202" sldId="316"/>
        </pc:sldMkLst>
        <pc:spChg chg="add mod">
          <ac:chgData name="Alvin Giang" userId="7bf65802d3cf91dc" providerId="LiveId" clId="{A0AC2FBD-ABC0-5247-896D-351E8BEBC21C}" dt="2024-05-05T08:11:12.177" v="65" actId="207"/>
          <ac:spMkLst>
            <pc:docMk/>
            <pc:sldMk cId="4084224202" sldId="316"/>
            <ac:spMk id="3" creationId="{89626B9F-2FE2-5A6B-B096-939661A33E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3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6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817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7F838-8931-4B06-B7CA-DC6CCAFC4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lue dots with red lines&#10;&#10;Description automatically generated">
            <a:extLst>
              <a:ext uri="{FF2B5EF4-FFF2-40B4-BE49-F238E27FC236}">
                <a16:creationId xmlns:a16="http://schemas.microsoft.com/office/drawing/2014/main" id="{C03D3476-4485-B21A-42E0-AC1E3EED8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99" y="171147"/>
            <a:ext cx="9773557" cy="65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24019CB-2D3B-2D30-919A-21E5DC6E6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572" y="749300"/>
            <a:ext cx="8903062" cy="556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08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9626B9F-2FE2-5A6B-B096-939661A33EC8}"/>
              </a:ext>
            </a:extLst>
          </p:cNvPr>
          <p:cNvSpPr txBox="1"/>
          <p:nvPr/>
        </p:nvSpPr>
        <p:spPr>
          <a:xfrm>
            <a:off x="849086" y="1364342"/>
            <a:ext cx="10174513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24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pPr marL="342900" lvl="0" indent="-342900">
              <a:buFont typeface="+mj-lt"/>
              <a:buAutoNum type="arabicPeriod"/>
            </a:pPr>
            <a:endParaRPr lang="en-A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22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49A561-9A7F-1F37-1FDD-95EBB6FEF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59" y="324937"/>
            <a:ext cx="11427550" cy="635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12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355891-5B01-6DD1-91BD-F4628C98D8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48" y="441640"/>
            <a:ext cx="11744765" cy="569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2071F4-CA1D-DA1E-3411-2C14CE4F5AF0}"/>
              </a:ext>
            </a:extLst>
          </p:cNvPr>
          <p:cNvSpPr/>
          <p:nvPr/>
        </p:nvSpPr>
        <p:spPr>
          <a:xfrm>
            <a:off x="0" y="0"/>
            <a:ext cx="12192000" cy="819397"/>
          </a:xfrm>
          <a:prstGeom prst="rect">
            <a:avLst/>
          </a:prstGeom>
          <a:gradFill flip="none" rotWithShape="1">
            <a:gsLst>
              <a:gs pos="0">
                <a:srgbClr val="D77925"/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rgbClr val="1F0B59"/>
              </a:gs>
            </a:gsLst>
            <a:lin ang="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77A129-0B0A-7613-709A-91FF1470F15F}"/>
              </a:ext>
            </a:extLst>
          </p:cNvPr>
          <p:cNvSpPr txBox="1"/>
          <p:nvPr/>
        </p:nvSpPr>
        <p:spPr>
          <a:xfrm>
            <a:off x="2001257" y="148088"/>
            <a:ext cx="81894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Air Pollutants Vs Lower and Chronic Respiratory Deaths</a:t>
            </a:r>
          </a:p>
        </p:txBody>
      </p:sp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39B47C0B-AC5C-DCBB-2205-B9B013F173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819396"/>
            <a:ext cx="5032168" cy="3019302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52A78760-55E3-ED18-62C2-ABED83CD0C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8303" y="3779759"/>
            <a:ext cx="5032169" cy="3019303"/>
          </a:xfrm>
          <a:prstGeom prst="rect">
            <a:avLst/>
          </a:prstGeom>
        </p:spPr>
      </p:pic>
      <p:pic>
        <p:nvPicPr>
          <p:cNvPr id="7" name="Picture 6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3F4610B-89D7-3E86-851A-73CDDE773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38698"/>
            <a:ext cx="5032171" cy="3019303"/>
          </a:xfrm>
          <a:prstGeom prst="rect">
            <a:avLst/>
          </a:prstGeom>
        </p:spPr>
      </p:pic>
      <p:pic>
        <p:nvPicPr>
          <p:cNvPr id="8" name="Picture 7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CE2AD423-3C36-DA76-2E2F-E873008AC8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464" y="916995"/>
            <a:ext cx="5032170" cy="3019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262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040F3-AB4A-BD67-6C85-39E5DB84A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79261-957B-AF90-70CF-BDDC259B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47</TotalTime>
  <Words>388</Words>
  <Application>Microsoft Macintosh PowerPoint</Application>
  <PresentationFormat>Widescreen</PresentationFormat>
  <Paragraphs>96</Paragraphs>
  <Slides>2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Fatema Girnary</cp:lastModifiedBy>
  <cp:revision>13</cp:revision>
  <dcterms:created xsi:type="dcterms:W3CDTF">2024-05-04T04:26:45Z</dcterms:created>
  <dcterms:modified xsi:type="dcterms:W3CDTF">2024-05-06T03:4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